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47E45A-7AC3-4A2B-B3DD-AB269F69B3D3}" v="49" dt="2023-03-15T22:42:53.57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6" d="100"/>
          <a:sy n="116" d="100"/>
        </p:scale>
        <p:origin x="120" y="444"/>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4147E45A-7AC3-4A2B-B3DD-AB269F69B3D3}"/>
    <pc:docChg chg="modSld">
      <pc:chgData name="Roberto Gallardo" userId="49a044883f185952" providerId="LiveId" clId="{4147E45A-7AC3-4A2B-B3DD-AB269F69B3D3}" dt="2023-03-15T22:43:02.996" v="198" actId="1076"/>
      <pc:docMkLst>
        <pc:docMk/>
      </pc:docMkLst>
      <pc:sldChg chg="addSp modSp mod">
        <pc:chgData name="Roberto Gallardo" userId="49a044883f185952" providerId="LiveId" clId="{4147E45A-7AC3-4A2B-B3DD-AB269F69B3D3}" dt="2023-03-15T22:37:39.008" v="8" actId="1076"/>
        <pc:sldMkLst>
          <pc:docMk/>
          <pc:sldMk cId="1418533539" sldId="271"/>
        </pc:sldMkLst>
        <pc:picChg chg="add mod">
          <ac:chgData name="Roberto Gallardo" userId="49a044883f185952" providerId="LiveId" clId="{4147E45A-7AC3-4A2B-B3DD-AB269F69B3D3}" dt="2023-03-15T22:37:39.008" v="8" actId="1076"/>
          <ac:picMkLst>
            <pc:docMk/>
            <pc:sldMk cId="1418533539" sldId="271"/>
            <ac:picMk id="6" creationId="{195C46EF-958B-FA1C-3006-D2EC8E2324EB}"/>
          </ac:picMkLst>
        </pc:picChg>
      </pc:sldChg>
      <pc:sldChg chg="addSp modSp mod">
        <pc:chgData name="Roberto Gallardo" userId="49a044883f185952" providerId="LiveId" clId="{4147E45A-7AC3-4A2B-B3DD-AB269F69B3D3}" dt="2023-03-15T22:39:30.795" v="69" actId="1076"/>
        <pc:sldMkLst>
          <pc:docMk/>
          <pc:sldMk cId="2124848710" sldId="281"/>
        </pc:sldMkLst>
        <pc:picChg chg="add mod">
          <ac:chgData name="Roberto Gallardo" userId="49a044883f185952" providerId="LiveId" clId="{4147E45A-7AC3-4A2B-B3DD-AB269F69B3D3}" dt="2023-03-15T22:39:30.795" v="69" actId="1076"/>
          <ac:picMkLst>
            <pc:docMk/>
            <pc:sldMk cId="2124848710" sldId="281"/>
            <ac:picMk id="6" creationId="{AD076268-7D83-B171-E584-3E645B164732}"/>
          </ac:picMkLst>
        </pc:picChg>
      </pc:sldChg>
      <pc:sldChg chg="addSp modSp mod">
        <pc:chgData name="Roberto Gallardo" userId="49a044883f185952" providerId="LiveId" clId="{4147E45A-7AC3-4A2B-B3DD-AB269F69B3D3}" dt="2023-03-15T22:39:50.972" v="83" actId="1076"/>
        <pc:sldMkLst>
          <pc:docMk/>
          <pc:sldMk cId="2028175529" sldId="282"/>
        </pc:sldMkLst>
        <pc:picChg chg="add mod">
          <ac:chgData name="Roberto Gallardo" userId="49a044883f185952" providerId="LiveId" clId="{4147E45A-7AC3-4A2B-B3DD-AB269F69B3D3}" dt="2023-03-15T22:39:50.972" v="83" actId="1076"/>
          <ac:picMkLst>
            <pc:docMk/>
            <pc:sldMk cId="2028175529" sldId="282"/>
            <ac:picMk id="7" creationId="{EE39364B-1224-9C66-E11E-773C6B412E79}"/>
          </ac:picMkLst>
        </pc:picChg>
      </pc:sldChg>
      <pc:sldChg chg="addSp modSp mod">
        <pc:chgData name="Roberto Gallardo" userId="49a044883f185952" providerId="LiveId" clId="{4147E45A-7AC3-4A2B-B3DD-AB269F69B3D3}" dt="2023-03-15T22:40:16.367" v="96" actId="1076"/>
        <pc:sldMkLst>
          <pc:docMk/>
          <pc:sldMk cId="1326517747" sldId="283"/>
        </pc:sldMkLst>
        <pc:picChg chg="add mod">
          <ac:chgData name="Roberto Gallardo" userId="49a044883f185952" providerId="LiveId" clId="{4147E45A-7AC3-4A2B-B3DD-AB269F69B3D3}" dt="2023-03-15T22:40:16.367" v="96" actId="1076"/>
          <ac:picMkLst>
            <pc:docMk/>
            <pc:sldMk cId="1326517747" sldId="283"/>
            <ac:picMk id="7" creationId="{CBA544E2-FD1F-7AF1-0D5A-0EFFE884AB11}"/>
          </ac:picMkLst>
        </pc:picChg>
      </pc:sldChg>
      <pc:sldChg chg="addSp modSp mod">
        <pc:chgData name="Roberto Gallardo" userId="49a044883f185952" providerId="LiveId" clId="{4147E45A-7AC3-4A2B-B3DD-AB269F69B3D3}" dt="2023-03-15T22:40:40.872" v="112" actId="1076"/>
        <pc:sldMkLst>
          <pc:docMk/>
          <pc:sldMk cId="783739251" sldId="284"/>
        </pc:sldMkLst>
        <pc:picChg chg="add mod">
          <ac:chgData name="Roberto Gallardo" userId="49a044883f185952" providerId="LiveId" clId="{4147E45A-7AC3-4A2B-B3DD-AB269F69B3D3}" dt="2023-03-15T22:40:40.872" v="112" actId="1076"/>
          <ac:picMkLst>
            <pc:docMk/>
            <pc:sldMk cId="783739251" sldId="284"/>
            <ac:picMk id="7" creationId="{4A82E355-A3F4-EC06-6D8A-A393D6D2CF66}"/>
          </ac:picMkLst>
        </pc:picChg>
      </pc:sldChg>
      <pc:sldChg chg="addSp modSp mod">
        <pc:chgData name="Roberto Gallardo" userId="49a044883f185952" providerId="LiveId" clId="{4147E45A-7AC3-4A2B-B3DD-AB269F69B3D3}" dt="2023-03-15T22:41:01.688" v="122" actId="1076"/>
        <pc:sldMkLst>
          <pc:docMk/>
          <pc:sldMk cId="1676122233" sldId="285"/>
        </pc:sldMkLst>
        <pc:picChg chg="add mod">
          <ac:chgData name="Roberto Gallardo" userId="49a044883f185952" providerId="LiveId" clId="{4147E45A-7AC3-4A2B-B3DD-AB269F69B3D3}" dt="2023-03-15T22:41:01.688" v="122" actId="1076"/>
          <ac:picMkLst>
            <pc:docMk/>
            <pc:sldMk cId="1676122233" sldId="285"/>
            <ac:picMk id="7" creationId="{201C2A21-769A-4FD0-74C9-0A10E3E90EF0}"/>
          </ac:picMkLst>
        </pc:picChg>
      </pc:sldChg>
      <pc:sldChg chg="addSp modSp mod">
        <pc:chgData name="Roberto Gallardo" userId="49a044883f185952" providerId="LiveId" clId="{4147E45A-7AC3-4A2B-B3DD-AB269F69B3D3}" dt="2023-03-15T22:41:17.799" v="132" actId="1076"/>
        <pc:sldMkLst>
          <pc:docMk/>
          <pc:sldMk cId="3100398757" sldId="286"/>
        </pc:sldMkLst>
        <pc:picChg chg="add mod">
          <ac:chgData name="Roberto Gallardo" userId="49a044883f185952" providerId="LiveId" clId="{4147E45A-7AC3-4A2B-B3DD-AB269F69B3D3}" dt="2023-03-15T22:41:17.799" v="132" actId="1076"/>
          <ac:picMkLst>
            <pc:docMk/>
            <pc:sldMk cId="3100398757" sldId="286"/>
            <ac:picMk id="7" creationId="{05B2BE72-7DCF-9042-7401-79015B852036}"/>
          </ac:picMkLst>
        </pc:picChg>
      </pc:sldChg>
      <pc:sldChg chg="addSp modSp mod">
        <pc:chgData name="Roberto Gallardo" userId="49a044883f185952" providerId="LiveId" clId="{4147E45A-7AC3-4A2B-B3DD-AB269F69B3D3}" dt="2023-03-15T22:41:33.592" v="142" actId="1076"/>
        <pc:sldMkLst>
          <pc:docMk/>
          <pc:sldMk cId="1546475425" sldId="287"/>
        </pc:sldMkLst>
        <pc:picChg chg="add mod">
          <ac:chgData name="Roberto Gallardo" userId="49a044883f185952" providerId="LiveId" clId="{4147E45A-7AC3-4A2B-B3DD-AB269F69B3D3}" dt="2023-03-15T22:41:33.592" v="142" actId="1076"/>
          <ac:picMkLst>
            <pc:docMk/>
            <pc:sldMk cId="1546475425" sldId="287"/>
            <ac:picMk id="7" creationId="{57446032-6A39-29AF-97E9-2A3AEEE0C1B8}"/>
          </ac:picMkLst>
        </pc:picChg>
      </pc:sldChg>
      <pc:sldChg chg="addSp modSp mod">
        <pc:chgData name="Roberto Gallardo" userId="49a044883f185952" providerId="LiveId" clId="{4147E45A-7AC3-4A2B-B3DD-AB269F69B3D3}" dt="2023-03-15T22:42:03.259" v="160" actId="1076"/>
        <pc:sldMkLst>
          <pc:docMk/>
          <pc:sldMk cId="1380517306" sldId="288"/>
        </pc:sldMkLst>
        <pc:picChg chg="add mod">
          <ac:chgData name="Roberto Gallardo" userId="49a044883f185952" providerId="LiveId" clId="{4147E45A-7AC3-4A2B-B3DD-AB269F69B3D3}" dt="2023-03-15T22:42:03.259" v="160" actId="1076"/>
          <ac:picMkLst>
            <pc:docMk/>
            <pc:sldMk cId="1380517306" sldId="288"/>
            <ac:picMk id="7" creationId="{BCD3DF68-2234-3C76-D124-D3FF26E56831}"/>
          </ac:picMkLst>
        </pc:picChg>
      </pc:sldChg>
      <pc:sldChg chg="addSp modSp mod">
        <pc:chgData name="Roberto Gallardo" userId="49a044883f185952" providerId="LiveId" clId="{4147E45A-7AC3-4A2B-B3DD-AB269F69B3D3}" dt="2023-03-15T22:42:18.387" v="170" actId="1076"/>
        <pc:sldMkLst>
          <pc:docMk/>
          <pc:sldMk cId="1388671151" sldId="289"/>
        </pc:sldMkLst>
        <pc:picChg chg="add mod">
          <ac:chgData name="Roberto Gallardo" userId="49a044883f185952" providerId="LiveId" clId="{4147E45A-7AC3-4A2B-B3DD-AB269F69B3D3}" dt="2023-03-15T22:42:18.387" v="170" actId="1076"/>
          <ac:picMkLst>
            <pc:docMk/>
            <pc:sldMk cId="1388671151" sldId="289"/>
            <ac:picMk id="7" creationId="{4D8FF6CE-3117-2279-D5B4-66AD095DDC40}"/>
          </ac:picMkLst>
        </pc:picChg>
      </pc:sldChg>
      <pc:sldChg chg="addSp modSp mod">
        <pc:chgData name="Roberto Gallardo" userId="49a044883f185952" providerId="LiveId" clId="{4147E45A-7AC3-4A2B-B3DD-AB269F69B3D3}" dt="2023-03-15T22:42:47.275" v="188" actId="1076"/>
        <pc:sldMkLst>
          <pc:docMk/>
          <pc:sldMk cId="2355376039" sldId="290"/>
        </pc:sldMkLst>
        <pc:picChg chg="add mod">
          <ac:chgData name="Roberto Gallardo" userId="49a044883f185952" providerId="LiveId" clId="{4147E45A-7AC3-4A2B-B3DD-AB269F69B3D3}" dt="2023-03-15T22:42:47.275" v="188" actId="1076"/>
          <ac:picMkLst>
            <pc:docMk/>
            <pc:sldMk cId="2355376039" sldId="290"/>
            <ac:picMk id="8" creationId="{A93BBBC6-DBB6-1A5E-66F9-E07C492DF6F5}"/>
          </ac:picMkLst>
        </pc:picChg>
      </pc:sldChg>
      <pc:sldChg chg="addSp modSp mod">
        <pc:chgData name="Roberto Gallardo" userId="49a044883f185952" providerId="LiveId" clId="{4147E45A-7AC3-4A2B-B3DD-AB269F69B3D3}" dt="2023-03-15T22:43:02.996" v="198" actId="1076"/>
        <pc:sldMkLst>
          <pc:docMk/>
          <pc:sldMk cId="3757257295" sldId="291"/>
        </pc:sldMkLst>
        <pc:picChg chg="add mod">
          <ac:chgData name="Roberto Gallardo" userId="49a044883f185952" providerId="LiveId" clId="{4147E45A-7AC3-4A2B-B3DD-AB269F69B3D3}" dt="2023-03-15T22:43:02.996" v="198" actId="1076"/>
          <ac:picMkLst>
            <pc:docMk/>
            <pc:sldMk cId="3757257295" sldId="291"/>
            <ac:picMk id="8" creationId="{1FE60B5B-FEF9-EBCC-47A6-DAC316FA0383}"/>
          </ac:picMkLst>
        </pc:picChg>
      </pc:sldChg>
      <pc:sldChg chg="addSp modSp mod">
        <pc:chgData name="Roberto Gallardo" userId="49a044883f185952" providerId="LiveId" clId="{4147E45A-7AC3-4A2B-B3DD-AB269F69B3D3}" dt="2023-03-15T22:41:47.528" v="150" actId="14100"/>
        <pc:sldMkLst>
          <pc:docMk/>
          <pc:sldMk cId="1259856727" sldId="292"/>
        </pc:sldMkLst>
        <pc:picChg chg="add mod">
          <ac:chgData name="Roberto Gallardo" userId="49a044883f185952" providerId="LiveId" clId="{4147E45A-7AC3-4A2B-B3DD-AB269F69B3D3}" dt="2023-03-15T22:41:47.528" v="150" actId="14100"/>
          <ac:picMkLst>
            <pc:docMk/>
            <pc:sldMk cId="1259856727" sldId="292"/>
            <ac:picMk id="7" creationId="{BE9EDF01-992E-5C91-1ACE-C84B0A7A08CE}"/>
          </ac:picMkLst>
        </pc:picChg>
      </pc:sldChg>
      <pc:sldChg chg="addSp modSp mod">
        <pc:chgData name="Roberto Gallardo" userId="49a044883f185952" providerId="LiveId" clId="{4147E45A-7AC3-4A2B-B3DD-AB269F69B3D3}" dt="2023-03-15T22:39:02.452" v="50" actId="1076"/>
        <pc:sldMkLst>
          <pc:docMk/>
          <pc:sldMk cId="3324519687" sldId="293"/>
        </pc:sldMkLst>
        <pc:picChg chg="add mod">
          <ac:chgData name="Roberto Gallardo" userId="49a044883f185952" providerId="LiveId" clId="{4147E45A-7AC3-4A2B-B3DD-AB269F69B3D3}" dt="2023-03-15T22:39:02.452" v="50" actId="1076"/>
          <ac:picMkLst>
            <pc:docMk/>
            <pc:sldMk cId="3324519687" sldId="293"/>
            <ac:picMk id="7" creationId="{7D4485E7-F3C8-E3A0-A53E-7193A52A42D0}"/>
          </ac:picMkLst>
        </pc:picChg>
      </pc:sldChg>
      <pc:sldChg chg="addSp modSp mod">
        <pc:chgData name="Roberto Gallardo" userId="49a044883f185952" providerId="LiveId" clId="{4147E45A-7AC3-4A2B-B3DD-AB269F69B3D3}" dt="2023-03-15T22:38:31.784" v="32" actId="1076"/>
        <pc:sldMkLst>
          <pc:docMk/>
          <pc:sldMk cId="3256182630" sldId="295"/>
        </pc:sldMkLst>
        <pc:picChg chg="add mod">
          <ac:chgData name="Roberto Gallardo" userId="49a044883f185952" providerId="LiveId" clId="{4147E45A-7AC3-4A2B-B3DD-AB269F69B3D3}" dt="2023-03-15T22:38:31.784" v="32" actId="1076"/>
          <ac:picMkLst>
            <pc:docMk/>
            <pc:sldMk cId="3256182630" sldId="295"/>
            <ac:picMk id="7" creationId="{33B0FFF9-5AC4-0953-8B59-7EC7B87006D8}"/>
          </ac:picMkLst>
        </pc:picChg>
      </pc:sldChg>
      <pc:sldChg chg="addSp modSp mod">
        <pc:chgData name="Roberto Gallardo" userId="49a044883f185952" providerId="LiveId" clId="{4147E45A-7AC3-4A2B-B3DD-AB269F69B3D3}" dt="2023-03-15T22:38:45.356" v="40" actId="1076"/>
        <pc:sldMkLst>
          <pc:docMk/>
          <pc:sldMk cId="4057156843" sldId="296"/>
        </pc:sldMkLst>
        <pc:picChg chg="add mod">
          <ac:chgData name="Roberto Gallardo" userId="49a044883f185952" providerId="LiveId" clId="{4147E45A-7AC3-4A2B-B3DD-AB269F69B3D3}" dt="2023-03-15T22:38:45.356" v="40" actId="1076"/>
          <ac:picMkLst>
            <pc:docMk/>
            <pc:sldMk cId="4057156843" sldId="296"/>
            <ac:picMk id="7" creationId="{87BB4854-0202-B0D0-D350-D1290E82E8C8}"/>
          </ac:picMkLst>
        </pc:picChg>
      </pc:sldChg>
      <pc:sldChg chg="addSp modSp mod">
        <pc:chgData name="Roberto Gallardo" userId="49a044883f185952" providerId="LiveId" clId="{4147E45A-7AC3-4A2B-B3DD-AB269F69B3D3}" dt="2023-03-15T22:38:15.455" v="24" actId="1076"/>
        <pc:sldMkLst>
          <pc:docMk/>
          <pc:sldMk cId="2080110827" sldId="297"/>
        </pc:sldMkLst>
        <pc:picChg chg="add mod">
          <ac:chgData name="Roberto Gallardo" userId="49a044883f185952" providerId="LiveId" clId="{4147E45A-7AC3-4A2B-B3DD-AB269F69B3D3}" dt="2023-03-15T22:38:15.455" v="24" actId="1076"/>
          <ac:picMkLst>
            <pc:docMk/>
            <pc:sldMk cId="2080110827" sldId="297"/>
            <ac:picMk id="6" creationId="{6F162E7D-F573-1F02-4FE0-F2F6054BCA42}"/>
          </ac:picMkLst>
        </pc:picChg>
      </pc:sldChg>
      <pc:sldChg chg="addSp modSp mod">
        <pc:chgData name="Roberto Gallardo" userId="49a044883f185952" providerId="LiveId" clId="{4147E45A-7AC3-4A2B-B3DD-AB269F69B3D3}" dt="2023-03-15T22:37:59.487" v="16" actId="1076"/>
        <pc:sldMkLst>
          <pc:docMk/>
          <pc:sldMk cId="1532666867" sldId="298"/>
        </pc:sldMkLst>
        <pc:picChg chg="add mod">
          <ac:chgData name="Roberto Gallardo" userId="49a044883f185952" providerId="LiveId" clId="{4147E45A-7AC3-4A2B-B3DD-AB269F69B3D3}" dt="2023-03-15T22:37:59.487" v="16" actId="1076"/>
          <ac:picMkLst>
            <pc:docMk/>
            <pc:sldMk cId="1532666867" sldId="298"/>
            <ac:picMk id="6" creationId="{026CCCB8-F8C3-D3AC-0D7A-309EC194ECFF}"/>
          </ac:picMkLst>
        </pc:picChg>
      </pc:sldChg>
      <pc:sldChg chg="addSp modSp mod">
        <pc:chgData name="Roberto Gallardo" userId="49a044883f185952" providerId="LiveId" clId="{4147E45A-7AC3-4A2B-B3DD-AB269F69B3D3}" dt="2023-03-15T22:42:32.164" v="178" actId="1076"/>
        <pc:sldMkLst>
          <pc:docMk/>
          <pc:sldMk cId="1951376777" sldId="299"/>
        </pc:sldMkLst>
        <pc:picChg chg="add mod">
          <ac:chgData name="Roberto Gallardo" userId="49a044883f185952" providerId="LiveId" clId="{4147E45A-7AC3-4A2B-B3DD-AB269F69B3D3}" dt="2023-03-15T22:42:32.164" v="178" actId="1076"/>
          <ac:picMkLst>
            <pc:docMk/>
            <pc:sldMk cId="1951376777" sldId="299"/>
            <ac:picMk id="7" creationId="{4990111A-98DB-6318-B8A4-58F48E0145AD}"/>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dirty="0">
                <a:solidFill>
                  <a:schemeClr val="bg1"/>
                </a:solidFill>
              </a:rPr>
              <a:t>Cherokee 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EAEA258-9E89-73C5-97AA-8ACB4E0C570F}"/>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0A5953BF-C957-FA6C-6CC3-539B11BA7178}"/>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195C46EF-958B-FA1C-3006-D2EC8E2324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5555" y="1028700"/>
            <a:ext cx="7604689" cy="537771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026CCCB8-F8C3-D3AC-0D7A-309EC194EC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1" y="1028700"/>
            <a:ext cx="7602618"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6F162E7D-F573-1F02-4FE0-F2F6054BCA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9FA14FA3-DDD6-878C-9CC0-8A233474C490}"/>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33B0FFF9-5AC4-0953-8B59-7EC7B87006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DC2CF992-3B52-0A76-D293-41DF3BFA9B2A}"/>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87BB4854-0202-B0D0-D350-D1290E82E8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CE24E103-5E77-0F0D-75F8-5C6E2D316F98}"/>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7D4485E7-F3C8-E3A0-A53E-7193A52A42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A3C5F9B-3A9B-07DD-5B35-47885DDC7118}"/>
              </a:ext>
            </a:extLst>
          </p:cNvPr>
          <p:cNvPicPr/>
          <p:nvPr/>
        </p:nvPicPr>
        <p:blipFill>
          <a:blip r:embed="rId2"/>
          <a:stretch>
            <a:fillRect/>
          </a:stretch>
        </p:blipFill>
        <p:spPr>
          <a:xfrm>
            <a:off x="152400" y="1783080"/>
            <a:ext cx="5297356" cy="3799114"/>
          </a:xfrm>
          <a:prstGeom prst="rect">
            <a:avLst/>
          </a:prstGeom>
        </p:spPr>
      </p:pic>
      <p:pic>
        <p:nvPicPr>
          <p:cNvPr id="6" name="Picture 5" descr="A picture containing schematic&#10;&#10;Description automatically generated">
            <a:extLst>
              <a:ext uri="{FF2B5EF4-FFF2-40B4-BE49-F238E27FC236}">
                <a16:creationId xmlns:a16="http://schemas.microsoft.com/office/drawing/2014/main" id="{AD076268-7D83-B171-E584-3E645B1647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8706B07-AEE6-4431-5DC3-DA0565CDB490}"/>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EE39364B-1224-9C66-E11E-773C6B412E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2"/>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4E6A0C4-A546-3F8B-C6AF-FFCBD75A49E3}"/>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CBA544E2-FD1F-7AF1-0D5A-0EFFE884AB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394414"/>
            <a:ext cx="6400801" cy="4526372"/>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04D245C-04BF-355C-7E42-60B13A04556D}"/>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4A82E355-A3F4-EC06-6D8A-A393D6D2CF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F0D9A94-7A60-FF45-7398-20D83E8B5911}"/>
              </a:ext>
            </a:extLst>
          </p:cNvPr>
          <p:cNvPicPr/>
          <p:nvPr/>
        </p:nvPicPr>
        <p:blipFill>
          <a:blip r:embed="rId2"/>
          <a:stretch>
            <a:fillRect/>
          </a:stretch>
        </p:blipFill>
        <p:spPr>
          <a:xfrm>
            <a:off x="159053" y="1774372"/>
            <a:ext cx="5289247" cy="3790406"/>
          </a:xfrm>
          <a:prstGeom prst="rect">
            <a:avLst/>
          </a:prstGeom>
        </p:spPr>
      </p:pic>
      <p:pic>
        <p:nvPicPr>
          <p:cNvPr id="7" name="Picture 6" descr="A picture containing map&#10;&#10;Description automatically generated">
            <a:extLst>
              <a:ext uri="{FF2B5EF4-FFF2-40B4-BE49-F238E27FC236}">
                <a16:creationId xmlns:a16="http://schemas.microsoft.com/office/drawing/2014/main" id="{201C2A21-769A-4FD0-74C9-0A10E3E90E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6389"/>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7425054-498C-C2B1-D313-C183144F764B}"/>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05B2BE72-7DCF-9042-7401-79015B8520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0221"/>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2CCB946-396A-B983-79AD-7CC12009A56A}"/>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57446032-6A39-29AF-97E9-2A3AEEE0C1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B6F24DFB-F7D9-CECD-D4BE-F33BF027591C}"/>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BE9EDF01-992E-5C91-1ACE-C84B0A7A08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25467"/>
            <a:ext cx="6400800" cy="452637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35CE673-62B6-DAA9-29D0-EE6004864C88}"/>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BCD3DF68-2234-3C76-D124-D3FF26E568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BB3C89B6-141A-ACD4-460F-BAE80D0570D9}"/>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4D8FF6CE-3117-2279-D5B4-66AD095DDC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4072D6C2-7653-B204-9358-805760918228}"/>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4990111A-98DB-6318-B8A4-58F48E0145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405FDE8F-9A3C-8306-1429-AE7C0D0D1E38}"/>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A93BBBC6-DBB6-1A5E-66F9-E07C492DF6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754"/>
            <a:ext cx="6396788" cy="4523534"/>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07571B0D-EC6E-184B-6D68-222F33D7CCE7}"/>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6B9F7866-D761-5BDC-AE2F-020CCFCADDDD}"/>
              </a:ext>
            </a:extLst>
          </p:cNvPr>
          <p:cNvPicPr/>
          <p:nvPr/>
        </p:nvPicPr>
        <p:blipFill>
          <a:blip r:embed="rId2"/>
          <a:stretch>
            <a:fillRect/>
          </a:stretch>
        </p:blipFill>
        <p:spPr>
          <a:xfrm>
            <a:off x="161358" y="1777637"/>
            <a:ext cx="5299487" cy="3795849"/>
          </a:xfrm>
          <a:prstGeom prst="rect">
            <a:avLst/>
          </a:prstGeom>
        </p:spPr>
      </p:pic>
      <p:pic>
        <p:nvPicPr>
          <p:cNvPr id="8" name="Picture 7" descr="A picture containing map&#10;&#10;Description automatically generated">
            <a:extLst>
              <a:ext uri="{FF2B5EF4-FFF2-40B4-BE49-F238E27FC236}">
                <a16:creationId xmlns:a16="http://schemas.microsoft.com/office/drawing/2014/main" id="{1FE60B5B-FEF9-EBCC-47A6-DAC316FA03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809"/>
            <a:ext cx="6402402" cy="4527504"/>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D868B15B-9858-6C7A-852A-A95C18F900D7}"/>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22C5E90D-950A-B0E0-331B-28FEE643458C}"/>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62F555F-BB91-E10C-24A3-A3680899181A}"/>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36350"/>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66688" y="2463832"/>
            <a:ext cx="1198148" cy="2062846"/>
            <a:chOff x="10485745" y="2827465"/>
            <a:chExt cx="1198148" cy="2062846"/>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46645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0.7</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9031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82746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827465"/>
              <a:ext cx="0" cy="63898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359003"/>
              <a:ext cx="0" cy="53130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7802"/>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71458" y="2372993"/>
            <a:ext cx="1198148" cy="2379013"/>
            <a:chOff x="2775759" y="2165794"/>
            <a:chExt cx="1198148" cy="2379013"/>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5928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7</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165794"/>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165794"/>
              <a:ext cx="0" cy="79349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51840"/>
              <a:ext cx="0" cy="69296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90A2ACA6-2FE0-5F15-5366-EBA8BADF8003}"/>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9B1D65DA-703C-F2AC-E55D-0FFCFC4E1FF9}"/>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FE4E8CB5-862B-837E-BD8C-096C2B7D281B}"/>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DCBFC69A-0921-A569-12DC-579AABBC8443}"/>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E4E8F9B-9A85-3F05-0F02-DB358154097D}"/>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7006512E-E7C4-6B04-1932-C3EF130C67E7}"/>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934E7407-3122-2113-DFC6-F92551602D24}"/>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0C05BB95-28FB-7C51-C288-0F9C9B22A272}"/>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38</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68</cp:revision>
  <dcterms:created xsi:type="dcterms:W3CDTF">2022-07-04T13:32:28Z</dcterms:created>
  <dcterms:modified xsi:type="dcterms:W3CDTF">2023-03-15T22:43:04Z</dcterms:modified>
</cp:coreProperties>
</file>